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0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47-4884-A359-C5B5E010F9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47-4884-A359-C5B5E010F9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47-4884-A359-C5B5E010F9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microsoft.com/office/2014/relationships/chartEx" Target="../charts/chartEx1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205F7F-1CC8-C302-EA9D-E88809FE2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6F0CF9-8300-616D-F602-6B9C79E8AD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6F0CF9-8300-616D-F602-6B9C79E8A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1F01647B-A68D-A763-C668-7F37D664D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Waterfall / Clustered Column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525B97F-1C00-566A-E87A-05545637C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682B4097-6671-DB65-CF93-7B7D074070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D933E38-4094-E67F-C8E3-45A0D0F5EC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6C75962-4B36-633C-0912-2D0F2D1F56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1AF6BD1F-B494-4879-975C-38D77BB137D8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0" name="Chart Placeholder 5">
                <a:extLst>
                  <a:ext uri="{FF2B5EF4-FFF2-40B4-BE49-F238E27FC236}">
                    <a16:creationId xmlns:a16="http://schemas.microsoft.com/office/drawing/2014/main" id="{95759BCE-4AC2-2A48-5A05-6DDE33ECDF7D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0" name="Chart Placeholder 5">
                <a:extLst>
                  <a:ext uri="{FF2B5EF4-FFF2-40B4-BE49-F238E27FC236}">
                    <a16:creationId xmlns:a16="http://schemas.microsoft.com/office/drawing/2014/main" id="{95759BCE-4AC2-2A48-5A05-6DDE33ECDF7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1013837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7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Waterfall / 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85</cp:revision>
  <dcterms:created xsi:type="dcterms:W3CDTF">2025-07-09T10:57:17Z</dcterms:created>
  <dcterms:modified xsi:type="dcterms:W3CDTF">2025-10-22T10:12:17Z</dcterms:modified>
  <cp:category/>
</cp:coreProperties>
</file>